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375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1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18415F-BD37-1FC6-C71E-1E16BC4DA4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07C88D8-CABE-A385-640C-F2AE426A4E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ABB8DB4-AA09-9DF3-24F7-25830CD58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42F360-24BA-9176-F300-88C480666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8BDD5-B160-CA87-7583-2CB7AD339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95454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70020-F13E-69C1-19E2-97FAAB9F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6ED752B-89F6-A86E-6B98-743E837F2C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099BC4-4EC9-80F6-874A-83D028367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C9CA04-07C3-1D50-190F-B4A57FA827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0A05FC-930E-C985-F321-62A07C763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44167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3C45158-54F5-F999-3C54-7B09CC301E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628183-52D6-3C65-EB27-EE09B5E32D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15CBFF-B1AD-84D5-057B-E9A55DCBC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9CEAEC-00BB-3CEA-73D6-D8753D604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0FCB59-901D-D02C-C984-E6C8C500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08156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9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</p:spTree>
    <p:extLst>
      <p:ext uri="{BB962C8B-B14F-4D97-AF65-F5344CB8AC3E}">
        <p14:creationId xmlns:p14="http://schemas.microsoft.com/office/powerpoint/2010/main" val="1259039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B2845D-3162-244D-92EA-4AA02BD3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10ACC6-F36B-72E5-D77E-5526B1903E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8BD374-3DE9-B13F-4AEB-C5DFF1DAD9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ED6657-6BA1-7456-18D0-041573426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6088C9-0951-9ACA-9D33-9035D2CBE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3903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B2715A-8C09-3703-A3D7-CCEFCDDC7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50A99FE-8E4E-AEAA-03EC-6E082E7C11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EBDB431-9681-C90F-C47E-840F72D92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F09080-B327-789B-9ACD-24AD8BB85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3797E1-E4F7-3ABD-AEBF-29FFBBAC6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22379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685287-C14F-A5A3-74E7-3A51347DA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4834E2-874E-092A-511F-154E338534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D3153CB-3267-D783-AFC6-56A2105B58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CEE9A54-26BF-B98A-308B-0D18580A4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353229E-DA13-76E1-EF5E-3298C62CC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8191667-07F3-3256-14B2-ED585C3C1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50547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02F332-4E2E-5421-81A9-D04E73DA9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373C0C-E6D4-AD91-CA9E-3C4F5C0F4B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D18D250-D8A4-8A64-EA61-896AD9EE67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7D3DD26-2129-3267-BC87-CC1D2436BF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3AFE1A6-88CE-2BEA-58A1-5439B7A8E9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2A61994-4871-D54A-B7EA-D0264F267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7D313A5-E19F-182D-9173-A2A1670AE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3876108-2BD7-7BDC-010C-0E2B82E74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44231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D30A33-4968-BBB1-28A0-1516F5DD1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5213A1F-7823-1BED-8D92-B4DF73EB6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8F54BDF-F7E7-786B-F241-F81C61F9C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A6D002F-5D56-7F98-9489-1F69B9F2C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426579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FC5A33-71C0-0353-F7FC-FBCF1220F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86F7FB1-617A-E3AC-3FB3-E8147BAE9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AD149D-126F-17BC-201F-15394975D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44625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6C2D20-0F5F-B50C-AF57-9553E1036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B97D99-DAFC-A9BB-4449-3E7306D3FB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FEA2354-C111-4806-FD69-D87A169B0A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76426B-8974-15A7-EEE6-34FC2DF24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A44D0B2-C1C4-0CAB-3602-772134D5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29D737-12C9-CF2D-117D-FA7D4804D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21932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7E7B8-4249-B1CF-91F4-5A6092FE1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39884AA-DBB4-6DFB-CF71-673F92767E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FF6A4C-C723-92B1-6C9E-2998E24C4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DCEB31-45E2-FFB6-FA8E-219EF198F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2F7356E-320B-349E-D739-B14B2116B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1B0741-8060-3BA9-B2FE-C880D642B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22746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741C98D-1303-B8BB-DDE5-D4D71C87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F95101-33D9-8B4F-B7AA-5DB97878D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037D218-46F1-AB62-813E-3414880AE9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0968C3-1197-48F5-9E21-10196FE9EE3E}" type="datetimeFigureOut">
              <a:rPr lang="de-AT" smtClean="0"/>
              <a:t>01.03.2024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88A3F3-BFE8-D52D-3B29-A3FD020AF7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7AFC5E-5EB9-0D9D-5B8B-0CD9AB50A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54858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746867" y="1618180"/>
            <a:ext cx="10813037" cy="746066"/>
          </a:xfrm>
        </p:spPr>
        <p:txBody>
          <a:bodyPr anchor="t">
            <a:normAutofit fontScale="40000" lnSpcReduction="20000"/>
          </a:bodyPr>
          <a:lstStyle/>
          <a:p>
            <a:br>
              <a:rPr lang="de-AT" sz="2900" dirty="0">
                <a:solidFill>
                  <a:srgbClr val="00A5EF"/>
                </a:solidFill>
                <a:latin typeface="Arial Black" panose="020B0A04020102020204" pitchFamily="34" charset="0"/>
              </a:rPr>
            </a:br>
            <a:r>
              <a:rPr lang="de-AT" sz="4400" dirty="0">
                <a:solidFill>
                  <a:srgbClr val="00A5EF"/>
                </a:solidFill>
                <a:latin typeface="Arial Black" panose="020B0A04020102020204" pitchFamily="34" charset="0"/>
              </a:rPr>
              <a:t>Expert*innen-JURY</a:t>
            </a:r>
            <a:br>
              <a:rPr lang="de-AT" sz="2900" dirty="0">
                <a:solidFill>
                  <a:srgbClr val="00A5EF"/>
                </a:solidFill>
                <a:latin typeface="Arial Black" panose="020B0A04020102020204" pitchFamily="34" charset="0"/>
              </a:rPr>
            </a:br>
            <a:br>
              <a:rPr lang="de-AT" sz="2900" dirty="0">
                <a:solidFill>
                  <a:srgbClr val="00A5EF"/>
                </a:solidFill>
                <a:latin typeface="Arial Black" panose="020B0A04020102020204" pitchFamily="34" charset="0"/>
              </a:rPr>
            </a:br>
            <a:r>
              <a:rPr lang="de-AT" sz="1500" b="0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in alphabethischer Reihenfolge)</a:t>
            </a:r>
          </a:p>
          <a:p>
            <a:r>
              <a:rPr lang="de-AT" sz="1700" dirty="0">
                <a:solidFill>
                  <a:srgbClr val="00A5EF"/>
                </a:solidFill>
                <a:latin typeface="Arial Black" panose="020B0A04020102020204" pitchFamily="34" charset="0"/>
              </a:rPr>
              <a:t>			</a:t>
            </a:r>
            <a:endParaRPr lang="de-AT" sz="1400" dirty="0">
              <a:solidFill>
                <a:srgbClr val="00A5EF"/>
              </a:solidFill>
              <a:latin typeface="Arial Black" panose="020B0A04020102020204" pitchFamily="34" charset="0"/>
            </a:endParaRPr>
          </a:p>
          <a:p>
            <a:endParaRPr lang="de-AT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867" y="575144"/>
            <a:ext cx="2514039" cy="900000"/>
          </a:xfrm>
          <a:prstGeom prst="rect">
            <a:avLst/>
          </a:prstGeom>
        </p:spPr>
      </p:pic>
      <p:sp>
        <p:nvSpPr>
          <p:cNvPr id="5" name="Textplatzhalter 17">
            <a:extLst>
              <a:ext uri="{FF2B5EF4-FFF2-40B4-BE49-F238E27FC236}">
                <a16:creationId xmlns:a16="http://schemas.microsoft.com/office/drawing/2014/main" id="{86C9B258-05AD-32D0-01AD-100635D1624A}"/>
              </a:ext>
            </a:extLst>
          </p:cNvPr>
          <p:cNvSpPr txBox="1">
            <a:spLocks/>
          </p:cNvSpPr>
          <p:nvPr/>
        </p:nvSpPr>
        <p:spPr>
          <a:xfrm>
            <a:off x="886085" y="4963261"/>
            <a:ext cx="10551581" cy="55670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 algn="l" defTabSz="457154" rtl="0" eaLnBrk="1" latinLnBrk="0" hangingPunct="1">
              <a:spcBef>
                <a:spcPct val="20000"/>
              </a:spcBef>
              <a:buFontTx/>
              <a:buNone/>
              <a:defRPr sz="2400" b="1" kern="1200">
                <a:solidFill>
                  <a:srgbClr val="00377A"/>
                </a:solidFill>
                <a:latin typeface="Arial"/>
                <a:ea typeface="+mn-ea"/>
                <a:cs typeface="Arial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1600" b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72D0FAF5-2725-956E-D49D-7BDB7862AF51}"/>
              </a:ext>
            </a:extLst>
          </p:cNvPr>
          <p:cNvSpPr/>
          <p:nvPr/>
        </p:nvSpPr>
        <p:spPr>
          <a:xfrm>
            <a:off x="6095999" y="2477028"/>
            <a:ext cx="2571424" cy="1045238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Marianne 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Penker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(A)</a:t>
            </a:r>
          </a:p>
          <a:p>
            <a:pPr algn="ctr"/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Stv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. Institutsleitung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Nachhaltige Wirtschaftsentwicklung, BOKU Wien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E4986AB-5C67-1872-184D-E5652BAB99B3}"/>
              </a:ext>
            </a:extLst>
          </p:cNvPr>
          <p:cNvSpPr/>
          <p:nvPr/>
        </p:nvSpPr>
        <p:spPr>
          <a:xfrm>
            <a:off x="664284" y="2460494"/>
            <a:ext cx="2571424" cy="1072999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Hendrik Haase (D)</a:t>
            </a:r>
          </a:p>
          <a:p>
            <a:pPr algn="ctr"/>
            <a:r>
              <a:rPr lang="de-AT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xperte für nachhaltige Ernährung, regionale Lebensmittelkultur &amp; Zukunftstrends</a:t>
            </a:r>
            <a:endParaRPr lang="de-AT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8A152F83-4337-35CC-ECD7-4D4AA6A4C495}"/>
              </a:ext>
            </a:extLst>
          </p:cNvPr>
          <p:cNvSpPr/>
          <p:nvPr/>
        </p:nvSpPr>
        <p:spPr>
          <a:xfrm>
            <a:off x="3388781" y="3582189"/>
            <a:ext cx="2571424" cy="1014948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Tanja Kostic (A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Senior Research Engineer</a:t>
            </a:r>
            <a:b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AIT Austrian Institute 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 Technology GmbH</a:t>
            </a:r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enter for Health &amp; Bioresources;</a:t>
            </a:r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Bioresources Uni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4027984E-4F57-F5BD-A159-9C782DABF997}"/>
              </a:ext>
            </a:extLst>
          </p:cNvPr>
          <p:cNvSpPr/>
          <p:nvPr/>
        </p:nvSpPr>
        <p:spPr>
          <a:xfrm>
            <a:off x="3388780" y="2477029"/>
            <a:ext cx="2564279" cy="1045238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us Kastenhofer (A)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Experte für Nachhaltigkeit &amp; Strategieentwicklung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Gründer ‚Goalkeepers‘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DB2F16E3-E4F9-A888-AA76-A94407FBFD1D}"/>
              </a:ext>
            </a:extLst>
          </p:cNvPr>
          <p:cNvSpPr/>
          <p:nvPr/>
        </p:nvSpPr>
        <p:spPr>
          <a:xfrm>
            <a:off x="6095999" y="4661695"/>
            <a:ext cx="2571424" cy="970366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Richard 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Petrasek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(A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Nachhaltigkeitsexperte,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FIBL Österreich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9C88E898-78AD-C6B9-CC6C-0013DAB93DFE}"/>
              </a:ext>
            </a:extLst>
          </p:cNvPr>
          <p:cNvSpPr/>
          <p:nvPr/>
        </p:nvSpPr>
        <p:spPr>
          <a:xfrm>
            <a:off x="6095998" y="3582189"/>
            <a:ext cx="2571425" cy="1014948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Christian Rammel (A)</a:t>
            </a:r>
          </a:p>
          <a:p>
            <a:pPr algn="ctr"/>
            <a:r>
              <a:rPr lang="de-AT" sz="1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itung Regional </a:t>
            </a:r>
            <a:r>
              <a:rPr lang="de-AT" sz="10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entre</a:t>
            </a:r>
            <a:r>
              <a:rPr lang="de-AT" sz="1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AT" sz="10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de-AT" sz="1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xpertise on Education for </a:t>
            </a:r>
            <a:r>
              <a:rPr lang="de-AT" sz="10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tainable</a:t>
            </a:r>
            <a:r>
              <a:rPr lang="de-AT" sz="1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velopment (RCE Vienna), WU Wien</a:t>
            </a:r>
            <a:endParaRPr lang="de-AT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F8A5C10F-390F-FF16-025A-F265FD0B4F1A}"/>
              </a:ext>
            </a:extLst>
          </p:cNvPr>
          <p:cNvSpPr/>
          <p:nvPr/>
        </p:nvSpPr>
        <p:spPr>
          <a:xfrm>
            <a:off x="8810363" y="2477028"/>
            <a:ext cx="2556970" cy="1045238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Hanni Rützler(A)</a:t>
            </a:r>
          </a:p>
          <a:p>
            <a:pPr algn="ctr"/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Foodtrend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-Expertin,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Herausgeberin ‚Food Report‘,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Gründerin ‚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Futurefoodstudio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BF7FF53-9D3F-4405-C2AC-D48BD6DA1898}"/>
              </a:ext>
            </a:extLst>
          </p:cNvPr>
          <p:cNvSpPr/>
          <p:nvPr/>
        </p:nvSpPr>
        <p:spPr>
          <a:xfrm>
            <a:off x="656365" y="5709476"/>
            <a:ext cx="2596623" cy="1014948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Tilo Hühn (CH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Zentrumsleitung Lebensmittelkomposition und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-prozessdesign ZHAW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ADC4085C-A2F5-1CE5-FF58-D018BDB9E2E6}"/>
              </a:ext>
            </a:extLst>
          </p:cNvPr>
          <p:cNvSpPr/>
          <p:nvPr/>
        </p:nvSpPr>
        <p:spPr>
          <a:xfrm>
            <a:off x="3381636" y="4662625"/>
            <a:ext cx="2582611" cy="968506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Hannes Leo (A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Innovationsexperte,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Mitgründer von ‚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cbased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‘ 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5C5BCDF7-ADE3-1E1D-0F37-5A98803D1CEE}"/>
              </a:ext>
            </a:extLst>
          </p:cNvPr>
          <p:cNvSpPr/>
          <p:nvPr/>
        </p:nvSpPr>
        <p:spPr>
          <a:xfrm>
            <a:off x="664283" y="4645833"/>
            <a:ext cx="2571425" cy="968506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Gisela Hühn (CH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Wissenschaftliche Mitarbeiterin ZHAW Forschungsgruppe für Lebensmittel-Prozessentwicklung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15FF5286-2D07-1A34-6E1C-CC3B938FAD09}"/>
              </a:ext>
            </a:extLst>
          </p:cNvPr>
          <p:cNvSpPr/>
          <p:nvPr/>
        </p:nvSpPr>
        <p:spPr>
          <a:xfrm>
            <a:off x="8810362" y="3582189"/>
            <a:ext cx="2556970" cy="1008026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ine Vallaster (A) </a:t>
            </a:r>
          </a:p>
          <a:p>
            <a:pPr algn="ctr"/>
            <a:r>
              <a:rPr lang="de-DE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islaufwirtschaftsexpertin Universitätsprofessorin Paris Lodron</a:t>
            </a:r>
          </a:p>
          <a:p>
            <a:pPr algn="ctr"/>
            <a:r>
              <a:rPr lang="de-DE" sz="10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ät </a:t>
            </a:r>
            <a:r>
              <a:rPr lang="de-DE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zburg; </a:t>
            </a:r>
          </a:p>
          <a:p>
            <a:pPr algn="ctr"/>
            <a:r>
              <a:rPr lang="de-DE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riebswirtschaftslehre / Marketing; </a:t>
            </a:r>
            <a:endParaRPr lang="de-AT" sz="10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C74B7D9-B915-8196-512A-9C29820A42BF}"/>
              </a:ext>
            </a:extLst>
          </p:cNvPr>
          <p:cNvSpPr/>
          <p:nvPr/>
        </p:nvSpPr>
        <p:spPr>
          <a:xfrm>
            <a:off x="6161875" y="5989245"/>
            <a:ext cx="5211724" cy="556703"/>
          </a:xfrm>
          <a:prstGeom prst="roundRect">
            <a:avLst/>
          </a:prstGeom>
          <a:ln w="19050"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b="1" dirty="0" err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rypool</a:t>
            </a:r>
            <a:r>
              <a:rPr lang="de-DE" sz="1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rd ggf. noch ergänzt</a:t>
            </a:r>
            <a:endParaRPr lang="de-AT" sz="12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23B32784-D518-B9AD-453F-D179B359E9C8}"/>
              </a:ext>
            </a:extLst>
          </p:cNvPr>
          <p:cNvSpPr/>
          <p:nvPr/>
        </p:nvSpPr>
        <p:spPr>
          <a:xfrm>
            <a:off x="671181" y="3588975"/>
            <a:ext cx="2581807" cy="1008161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Theresa 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Hingsammer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(D)</a:t>
            </a:r>
          </a:p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Head of Food Campus Digital </a:t>
            </a:r>
          </a:p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@Food Campus Berlin,</a:t>
            </a:r>
          </a:p>
          <a:p>
            <a:pPr algn="ctr"/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rtprojek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Nature and Nutrition GmbH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CBD4229B-ABA9-06CA-E959-8262804B0EBD}"/>
              </a:ext>
            </a:extLst>
          </p:cNvPr>
          <p:cNvSpPr/>
          <p:nvPr/>
        </p:nvSpPr>
        <p:spPr>
          <a:xfrm>
            <a:off x="8816867" y="4661695"/>
            <a:ext cx="2550465" cy="954627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Susann Vierbauch (D)</a:t>
            </a:r>
          </a:p>
          <a:p>
            <a:pPr algn="ctr" fontAlgn="auto"/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Wissenschaftliche Referentin</a:t>
            </a:r>
          </a:p>
          <a:p>
            <a:pPr algn="ctr"/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Fraunhofer Institute </a:t>
            </a:r>
            <a:r>
              <a:rPr lang="de-AT" sz="1000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000" dirty="0" err="1"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 Engineering and </a:t>
            </a:r>
            <a:r>
              <a:rPr lang="de-AT" sz="1000" dirty="0" err="1">
                <a:latin typeface="Arial" panose="020B0604020202020204" pitchFamily="34" charset="0"/>
                <a:cs typeface="Arial" panose="020B0604020202020204" pitchFamily="34" charset="0"/>
              </a:rPr>
              <a:t>Packaging</a:t>
            </a:r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 IVV </a:t>
            </a:r>
          </a:p>
        </p:txBody>
      </p:sp>
    </p:spTree>
    <p:extLst>
      <p:ext uri="{BB962C8B-B14F-4D97-AF65-F5344CB8AC3E}">
        <p14:creationId xmlns:p14="http://schemas.microsoft.com/office/powerpoint/2010/main" val="562625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7</Words>
  <Application>Microsoft Office PowerPoint</Application>
  <PresentationFormat>Breitbild</PresentationFormat>
  <Paragraphs>4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Arial Black</vt:lpstr>
      <vt:lpstr>Calibri</vt:lpstr>
      <vt:lpstr>Calibri Light</vt:lpstr>
      <vt:lpstr>Symbol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RNTL Kerstin</dc:creator>
  <cp:lastModifiedBy>DERNTL Kerstin</cp:lastModifiedBy>
  <cp:revision>7</cp:revision>
  <dcterms:created xsi:type="dcterms:W3CDTF">2023-08-28T09:41:13Z</dcterms:created>
  <dcterms:modified xsi:type="dcterms:W3CDTF">2024-03-01T08:57:54Z</dcterms:modified>
</cp:coreProperties>
</file>